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87" r:id="rId2"/>
    <p:sldId id="256" r:id="rId3"/>
    <p:sldId id="257" r:id="rId4"/>
    <p:sldId id="280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99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88" r:id="rId22"/>
    <p:sldId id="273" r:id="rId23"/>
    <p:sldId id="274" r:id="rId24"/>
    <p:sldId id="285" r:id="rId25"/>
    <p:sldId id="276" r:id="rId26"/>
    <p:sldId id="303" r:id="rId27"/>
    <p:sldId id="296" r:id="rId28"/>
    <p:sldId id="304" r:id="rId29"/>
    <p:sldId id="277" r:id="rId30"/>
    <p:sldId id="278" r:id="rId31"/>
    <p:sldId id="289" r:id="rId32"/>
    <p:sldId id="305" r:id="rId33"/>
    <p:sldId id="306" r:id="rId34"/>
  </p:sldIdLst>
  <p:sldSz cx="9906000" cy="6858000" type="A4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2077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pos="3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00"/>
    <a:srgbClr val="CBCBCB"/>
    <a:srgbClr val="E7E7E7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21" autoAdjust="0"/>
    <p:restoredTop sz="94635"/>
  </p:normalViewPr>
  <p:slideViewPr>
    <p:cSldViewPr>
      <p:cViewPr varScale="1">
        <p:scale>
          <a:sx n="85" d="100"/>
          <a:sy n="85" d="100"/>
        </p:scale>
        <p:origin x="732" y="84"/>
      </p:cViewPr>
      <p:guideLst>
        <p:guide orient="horz" pos="663"/>
        <p:guide pos="2077"/>
        <p:guide orient="horz" pos="255"/>
        <p:guide pos="3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0CB841-BC1A-E04B-9C60-5E723A665332}" type="datetimeFigureOut">
              <a:rPr lang="en-GB" smtClean="0"/>
              <a:t>18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53B4B-989C-CC4E-9176-7CC6BF2EA0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9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814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4515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633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947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88504" y="1802235"/>
            <a:ext cx="8915400" cy="4525963"/>
          </a:xfrm>
        </p:spPr>
        <p:txBody>
          <a:bodyPr vert="eaVert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1850" y="469431"/>
            <a:ext cx="222885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469431"/>
            <a:ext cx="652145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197" y="52065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198" y="1781126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8198" y="2420888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25008" y="1781126"/>
            <a:ext cx="437859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25008" y="2420888"/>
            <a:ext cx="437859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209" y="47667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2880" y="476672"/>
            <a:ext cx="553772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209" y="163872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88504" y="421940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504" y="17475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graphicFrame>
        <p:nvGraphicFramePr>
          <p:cNvPr id="7" name="picPorsche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50718526"/>
              </p:ext>
            </p:extLst>
          </p:nvPr>
        </p:nvGraphicFramePr>
        <p:xfrm>
          <a:off x="4126494" y="115200"/>
          <a:ext cx="1653012" cy="11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" name="Dokument" r:id="rId19" imgW="2515320" imgH="171000" progId="Word.Document.8">
                  <p:embed/>
                </p:oleObj>
              </mc:Choice>
              <mc:Fallback>
                <p:oleObj name="Dokument" r:id="rId19" imgW="2515320" imgH="17100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26494" y="115200"/>
                        <a:ext cx="1653012" cy="11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0"/>
          <p:cNvSpPr/>
          <p:nvPr userDrawn="1">
            <p:custDataLst>
              <p:tags r:id="rId15"/>
            </p:custDataLst>
          </p:nvPr>
        </p:nvSpPr>
        <p:spPr>
          <a:xfrm>
            <a:off x="-1" y="3456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31"/>
          <p:cNvSpPr/>
          <p:nvPr userDrawn="1">
            <p:custDataLst>
              <p:tags r:id="rId16"/>
            </p:custDataLst>
          </p:nvPr>
        </p:nvSpPr>
        <p:spPr>
          <a:xfrm>
            <a:off x="-1" y="64764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textBoxPageXFromY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9021619" y="6521278"/>
            <a:ext cx="700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Tx/>
              <a:buFontTx/>
              <a:buNone/>
              <a:defRPr sz="1400"/>
            </a:lvl1pPr>
          </a:lstStyle>
          <a:p>
            <a:pPr lvl="0" algn="r"/>
            <a:fld id="{DD988CC0-39C7-4044-B766-F8FD03CF2D59}" type="slidenum">
              <a:rPr lang="de-DE" smtClean="0">
                <a:latin typeface="Porsche Next TT" pitchFamily="34" charset="0"/>
                <a:cs typeface="Porsche Next TT" pitchFamily="34" charset="0"/>
              </a:rPr>
              <a:t>‹#›</a:t>
            </a:fld>
            <a:endParaRPr lang="de-DE" dirty="0">
              <a:latin typeface="Porsche Next TT" pitchFamily="34" charset="0"/>
              <a:cs typeface="Porsche Next TT" pitchFamily="34" charset="0"/>
            </a:endParaRPr>
          </a:p>
        </p:txBody>
      </p:sp>
      <p:sp>
        <p:nvSpPr>
          <p:cNvPr id="11" name="textBoxChapter"/>
          <p:cNvSpPr txBox="1"/>
          <p:nvPr userDrawn="1">
            <p:custDataLst>
              <p:tags r:id="rId18"/>
            </p:custDataLst>
          </p:nvPr>
        </p:nvSpPr>
        <p:spPr>
          <a:xfrm>
            <a:off x="2118186" y="6519824"/>
            <a:ext cx="5665963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Porsche Golf Cup China</a:t>
            </a:r>
            <a:r>
              <a:rPr lang="de-DE" sz="1400" baseline="0" dirty="0">
                <a:latin typeface="Porsche Next TT" pitchFamily="34" charset="0"/>
                <a:cs typeface="Porsche Next TT" pitchFamily="34" charset="0"/>
              </a:rPr>
              <a:t> Final </a:t>
            </a:r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201</a:t>
            </a:r>
            <a:r>
              <a:rPr lang="en-US" altLang="zh-CN" sz="1400" dirty="0">
                <a:latin typeface="Porsche Next TT" pitchFamily="34" charset="0"/>
                <a:cs typeface="Porsche Next TT" pitchFamily="34" charset="0"/>
              </a:rPr>
              <a:t>9</a:t>
            </a:r>
            <a:endParaRPr lang="en-GB" sz="1400" noProof="0" dirty="0">
              <a:latin typeface="Porsche Next TT" pitchFamily="34" charset="0"/>
              <a:cs typeface="Porsche Next T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package" Target="../embeddings/Microsoft_Word_Document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package" Target="../embeddings/Microsoft_Word_Document1.docx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171619" y="3481573"/>
            <a:ext cx="9559669" cy="512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 baseline="0">
                <a:solidFill>
                  <a:schemeClr val="tx1"/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kumimoji="1" lang="en-US" altLang="zh-CN" sz="3200" dirty="0">
                <a:latin typeface="Porsche Next"/>
                <a:cs typeface="Porsche Next"/>
              </a:rPr>
              <a:t>Porsche Golf China Final 2019_We-chat mini programme</a:t>
            </a:r>
            <a:endParaRPr kumimoji="1" lang="zh-CN" altLang="en-US" sz="3200" dirty="0">
              <a:latin typeface="Porsche Next"/>
              <a:cs typeface="Porsche Next"/>
            </a:endParaRPr>
          </a:p>
        </p:txBody>
      </p:sp>
      <p:sp>
        <p:nvSpPr>
          <p:cNvPr id="5" name="文本占位符 2"/>
          <p:cNvSpPr txBox="1">
            <a:spLocks/>
          </p:cNvSpPr>
          <p:nvPr/>
        </p:nvSpPr>
        <p:spPr>
          <a:xfrm>
            <a:off x="171619" y="4289485"/>
            <a:ext cx="9559668" cy="294954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 baseline="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latin typeface="Porsche Next"/>
                <a:cs typeface="Porsche Next"/>
              </a:rPr>
              <a:t>13 November, 2019</a:t>
            </a:r>
          </a:p>
        </p:txBody>
      </p:sp>
    </p:spTree>
    <p:extLst>
      <p:ext uri="{BB962C8B-B14F-4D97-AF65-F5344CB8AC3E}">
        <p14:creationId xmlns:p14="http://schemas.microsoft.com/office/powerpoint/2010/main" val="1275788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1" y="1286398"/>
            <a:ext cx="2752930" cy="4429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8010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00C906B-6EE8-F146-B8A4-4107D1837EAF}"/>
              </a:ext>
            </a:extLst>
          </p:cNvPr>
          <p:cNvSpPr txBox="1"/>
          <p:nvPr/>
        </p:nvSpPr>
        <p:spPr>
          <a:xfrm>
            <a:off x="3872880" y="1052736"/>
            <a:ext cx="432048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姓名栏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、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成绩栏内容删除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08175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4232920" y="842029"/>
            <a:ext cx="3437996" cy="5442516"/>
          </a:xfrm>
          <a:prstGeom prst="rect">
            <a:avLst/>
          </a:prstGeom>
          <a:ln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赛程安排</a:t>
            </a:r>
          </a:p>
          <a:p>
            <a:pPr>
              <a:defRPr sz="16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8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	抵达三亚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入住陵水蓝湾绿城威斯汀酒店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-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4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3:00 - 17:0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在鉴湖蓝湾高尔夫球场练习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或在酒店休息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30 - 19:30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鸡尾酒社交环节（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酒店沙滩前草坪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9:30 - 21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欢迎晚宴</a:t>
            </a:r>
            <a:endParaRPr lang="en-US" altLang="zh-CN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3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    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0 - 09:4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步行或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往返酒店与球场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班车每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5 - 10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分钟一班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5 - 10:5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热身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00 - 11:2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开球仪式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20 - 11:2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合影留念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6:3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中国总决赛正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保时捷挑战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:3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-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4:0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9:30 - 16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其它非球手活动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5:00 - 17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返回酒店 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00 - 18:40    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鸡尾酒社交环节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2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宴会厅）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40 - 21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颁奖晚宴</a:t>
            </a:r>
            <a:endParaRPr lang="en-US" altLang="zh-CN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1:3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     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庆祝派对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迷吧）</a:t>
            </a:r>
          </a:p>
          <a:p>
            <a:pPr>
              <a:spcBef>
                <a:spcPts val="4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4:00	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午餐（酒店 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 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层中国元素餐厅）</a:t>
            </a:r>
            <a:endParaRPr lang="en-US" altLang="ja-JP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全天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预约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送机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      	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54433"/>
            <a:chOff x="615895" y="1124744"/>
            <a:chExt cx="2752929" cy="4854433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98901"/>
              <a:ext cx="2752929" cy="4380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31571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8965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球场指南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3584848" y="1124744"/>
            <a:ext cx="5688632" cy="954107"/>
          </a:xfrm>
          <a:prstGeom prst="rect">
            <a:avLst/>
          </a:prstGeom>
          <a:ln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600" b="0" dirty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场指南</a:t>
            </a:r>
            <a:r>
              <a:rPr lang="ja-JP" altLang="en-US" sz="1600" b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介绍文字无更新</a:t>
            </a:r>
            <a:endParaRPr lang="en-US" altLang="zh-CN" sz="1600" b="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en-US" sz="200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ja-JP" b="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18</a:t>
            </a:r>
            <a:r>
              <a:rPr lang="ja-JP" altLang="en-US" b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个球道图按文件更新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： 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2019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蓝湾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_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道图</a:t>
            </a:r>
            <a:endParaRPr lang="ja-JP" altLang="en-US" b="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87286"/>
            <a:chOff x="615895" y="1124744"/>
            <a:chExt cx="2752929" cy="4887286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66050"/>
              <a:ext cx="2752929" cy="44459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8448325"/>
              </p:ext>
            </p:extLst>
          </p:nvPr>
        </p:nvGraphicFramePr>
        <p:xfrm>
          <a:off x="3584848" y="2060848"/>
          <a:ext cx="2232248" cy="41159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Acrobat Document" r:id="rId4" imgW="1708128" imgH="3149277" progId="Acrobat.Document.DC">
                  <p:embed/>
                </p:oleObj>
              </mc:Choice>
              <mc:Fallback>
                <p:oleObj name="Acrobat Document" r:id="rId4" imgW="1708128" imgH="3149277" progId="Acrobat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84848" y="2060848"/>
                        <a:ext cx="2232248" cy="41159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id="{9DE99CCC-DE73-124F-A094-9EEBED2B5E42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3151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074744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448944" y="1556792"/>
            <a:ext cx="3384376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simhei_porsche" pitchFamily="49" charset="-122"/>
              <a:ea typeface="simhei_porsche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无更新</a:t>
            </a:r>
            <a:endParaRPr lang="en-US" altLang="zh-CN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组 4"/>
          <p:cNvGrpSpPr/>
          <p:nvPr/>
        </p:nvGrpSpPr>
        <p:grpSpPr>
          <a:xfrm>
            <a:off x="632520" y="1124744"/>
            <a:ext cx="2736304" cy="4765191"/>
            <a:chOff x="632520" y="1124744"/>
            <a:chExt cx="2736304" cy="4765191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32520" y="1514558"/>
              <a:ext cx="2736304" cy="4375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矩形 5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8" name="矩形 7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076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2096" y="315802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9076"/>
            <a:ext cx="2752930" cy="4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80740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490FF94-B1A5-1842-A41D-DA12FC4835E3}"/>
              </a:ext>
            </a:extLst>
          </p:cNvPr>
          <p:cNvSpPr/>
          <p:nvPr/>
        </p:nvSpPr>
        <p:spPr>
          <a:xfrm>
            <a:off x="848544" y="314096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0025B45-1EE0-B24B-8C8C-40893748D9DA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1640632" y="321297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84226EB-8DC4-0940-8539-FC0F0EA26B85}"/>
              </a:ext>
            </a:extLst>
          </p:cNvPr>
          <p:cNvSpPr txBox="1"/>
          <p:nvPr/>
        </p:nvSpPr>
        <p:spPr>
          <a:xfrm>
            <a:off x="3593161" y="4581128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E55C39-604D-664A-BC2D-C829315E54A8}"/>
              </a:ext>
            </a:extLst>
          </p:cNvPr>
          <p:cNvSpPr txBox="1"/>
          <p:nvPr/>
        </p:nvSpPr>
        <p:spPr>
          <a:xfrm>
            <a:off x="3583002" y="37756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96A470-5788-174D-A254-95328ACEF6BA}"/>
              </a:ext>
            </a:extLst>
          </p:cNvPr>
          <p:cNvSpPr/>
          <p:nvPr/>
        </p:nvSpPr>
        <p:spPr>
          <a:xfrm>
            <a:off x="848544" y="3993800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13C870B-99C8-2948-AB79-B54F9A47ABB1}"/>
              </a:ext>
            </a:extLst>
          </p:cNvPr>
          <p:cNvCxnSpPr>
            <a:cxnSpLocks/>
            <a:stCxn id="19" idx="3"/>
            <a:endCxn id="14" idx="1"/>
          </p:cNvCxnSpPr>
          <p:nvPr/>
        </p:nvCxnSpPr>
        <p:spPr>
          <a:xfrm flipV="1">
            <a:off x="1640632" y="3906485"/>
            <a:ext cx="1942370" cy="1593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DA34342-2713-934F-99A1-EFDC62B31576}"/>
              </a:ext>
            </a:extLst>
          </p:cNvPr>
          <p:cNvSpPr/>
          <p:nvPr/>
        </p:nvSpPr>
        <p:spPr>
          <a:xfrm>
            <a:off x="848544" y="4584645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87970AE-2673-474E-9882-D5DF0E629F83}"/>
              </a:ext>
            </a:extLst>
          </p:cNvPr>
          <p:cNvCxnSpPr>
            <a:cxnSpLocks/>
            <a:stCxn id="22" idx="3"/>
            <a:endCxn id="13" idx="1"/>
          </p:cNvCxnSpPr>
          <p:nvPr/>
        </p:nvCxnSpPr>
        <p:spPr>
          <a:xfrm>
            <a:off x="1640632" y="4656653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3BE8278-4045-0C46-82CB-C2133631BA2A}"/>
              </a:ext>
            </a:extLst>
          </p:cNvPr>
          <p:cNvSpPr/>
          <p:nvPr/>
        </p:nvSpPr>
        <p:spPr>
          <a:xfrm>
            <a:off x="848544" y="422090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CBEEC11-B5D5-2044-8029-DC109DDF1D47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1640632" y="4234118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3DC3CCF-8B01-D34E-9AA2-9268CD2A2116}"/>
              </a:ext>
            </a:extLst>
          </p:cNvPr>
          <p:cNvSpPr txBox="1"/>
          <p:nvPr/>
        </p:nvSpPr>
        <p:spPr>
          <a:xfrm>
            <a:off x="3583002" y="4127676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</p:spTree>
    <p:extLst>
      <p:ext uri="{BB962C8B-B14F-4D97-AF65-F5344CB8AC3E}">
        <p14:creationId xmlns:p14="http://schemas.microsoft.com/office/powerpoint/2010/main" val="506091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64897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908720"/>
            <a:ext cx="5544616" cy="47089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2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活动信息</a:t>
            </a:r>
            <a:endParaRPr lang="en-US" altLang="zh-CN" sz="24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着装建议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五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3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雅致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30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六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正式比赛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制服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颁奖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商务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* </a:t>
            </a:r>
            <a:r>
              <a:rPr lang="ja-JP" altLang="en-US" sz="140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及颁奖晚宴欢迎鸡尾酒会在室外草坪区域举行，建议女士勿着细高跟鞋。</a:t>
            </a:r>
            <a:endParaRPr lang="en-US" altLang="zh-CN" sz="1400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5282"/>
            <a:ext cx="2751129" cy="443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001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26461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28864" y="908720"/>
            <a:ext cx="338437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2229"/>
            <a:ext cx="2752930" cy="4437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153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0229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合作伙伴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16896" y="2060848"/>
            <a:ext cx="2296228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删除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ufthansa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825" y="1275167"/>
            <a:ext cx="2753056" cy="445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493FFE-BD04-EF40-851E-61E13A2EA1F6}"/>
              </a:ext>
            </a:extLst>
          </p:cNvPr>
          <p:cNvCxnSpPr/>
          <p:nvPr/>
        </p:nvCxnSpPr>
        <p:spPr>
          <a:xfrm>
            <a:off x="1280592" y="3933056"/>
            <a:ext cx="144016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1338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29676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980728"/>
            <a:ext cx="4536504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内右下角文字有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参考文件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小程序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酒店地图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专页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498253"/>
            <a:ext cx="2752929" cy="4437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矩形 8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2840" y="2362056"/>
            <a:ext cx="6234251" cy="3768728"/>
          </a:xfrm>
          <a:prstGeom prst="rect">
            <a:avLst/>
          </a:prstGeom>
        </p:spPr>
      </p:pic>
      <p:sp>
        <p:nvSpPr>
          <p:cNvPr id="8" name="矩形 6">
            <a:extLst>
              <a:ext uri="{FF2B5EF4-FFF2-40B4-BE49-F238E27FC236}">
                <a16:creationId xmlns:a16="http://schemas.microsoft.com/office/drawing/2014/main" id="{1FE2B02B-88C1-7B4C-92D9-F75C72C6815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5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5361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561386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1052736"/>
            <a:ext cx="1728192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不变</a:t>
            </a:r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endParaRPr lang="en-US" dirty="0">
              <a:latin typeface="黑体" panose="02010609060101010101" pitchFamily="49" charset="-122"/>
              <a:ea typeface="黑体" panose="02010609060101010101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5141" y="1450646"/>
            <a:ext cx="2753055" cy="4388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矩形 7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9" name="矩形 6">
            <a:extLst>
              <a:ext uri="{FF2B5EF4-FFF2-40B4-BE49-F238E27FC236}">
                <a16:creationId xmlns:a16="http://schemas.microsoft.com/office/drawing/2014/main" id="{2F3998C4-A671-3D4A-A5F5-FEEA925DD95B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6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81250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9858" y="414936"/>
            <a:ext cx="8915400" cy="631282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Content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295735"/>
              </p:ext>
            </p:extLst>
          </p:nvPr>
        </p:nvGraphicFramePr>
        <p:xfrm>
          <a:off x="247650" y="1203204"/>
          <a:ext cx="4381799" cy="4752538"/>
        </p:xfrm>
        <a:graphic>
          <a:graphicData uri="http://schemas.openxmlformats.org/drawingml/2006/table">
            <a:tbl>
              <a:tblPr firstRow="1" bandRow="1"/>
              <a:tblGrid>
                <a:gridCol w="20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3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选手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形式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规则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赞助商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视频集锦 </a:t>
                      </a:r>
                      <a:r>
                        <a:rPr lang="en-US" altLang="zh-CN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&amp;</a:t>
                      </a: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 决赛精彩瞬间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309919"/>
              </p:ext>
            </p:extLst>
          </p:nvPr>
        </p:nvGraphicFramePr>
        <p:xfrm>
          <a:off x="4857152" y="1197105"/>
          <a:ext cx="4381799" cy="2391220"/>
        </p:xfrm>
        <a:graphic>
          <a:graphicData uri="http://schemas.openxmlformats.org/drawingml/2006/table">
            <a:tbl>
              <a:tblPr firstRow="1" bandRow="1"/>
              <a:tblGrid>
                <a:gridCol w="325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56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嘉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简介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挑战赛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界洲岛自由行</a:t>
                      </a: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/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体验试驾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441">
                <a:tc gridSpan="2"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预约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581070"/>
              </p:ext>
            </p:extLst>
          </p:nvPr>
        </p:nvGraphicFramePr>
        <p:xfrm>
          <a:off x="4857152" y="4081332"/>
          <a:ext cx="4381799" cy="291148"/>
        </p:xfrm>
        <a:graphic>
          <a:graphicData uri="http://schemas.openxmlformats.org/drawingml/2006/table">
            <a:tbl>
              <a:tblPr firstRow="1" bandRow="1"/>
              <a:tblGrid>
                <a:gridCol w="4381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9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预约试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120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53929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影像集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584848" y="1092760"/>
            <a:ext cx="4320480" cy="21236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视频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全球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照片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赛后上传精选活动照片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583745"/>
            <a:ext cx="2753055" cy="4410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79790B0-546E-1E40-B9B9-1519250F9AA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7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7802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58946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74962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预约</a:t>
                      </a:r>
                      <a:endParaRPr lang="en-US" altLang="zh-CN" sz="14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92960" y="1052736"/>
            <a:ext cx="4320480" cy="31559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 Golf Cup China Final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嘉宾预约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 fontAlgn="ctr">
              <a:lnSpc>
                <a:spcPct val="106000"/>
              </a:lnSpc>
              <a:buClr>
                <a:schemeClr val="tx1"/>
              </a:buClr>
              <a:buSzPct val="90000"/>
              <a:defRPr/>
            </a:pP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班车信息</a:t>
            </a:r>
            <a:endParaRPr lang="en-US" b="1" dirty="0">
              <a:solidFill>
                <a:srgbClr val="00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紧急联络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4994"/>
            <a:ext cx="3207488" cy="514468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simhei_porsche" pitchFamily="49" charset="-122"/>
              <a:ea typeface="simhei_porsche" pitchFamily="49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3731908-4428-6B4F-9853-2AF1E5AEAD64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8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306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46033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88904" y="908720"/>
            <a:ext cx="4320480" cy="8925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82163"/>
            <a:ext cx="3168352" cy="5091431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49EF9CF-D2E0-4E4A-8536-626D64DBDA97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9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03002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50815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友谊赛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895836"/>
            <a:ext cx="4392488" cy="54245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友谊赛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:00 - 16:30</a:t>
            </a: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鉴湖蓝湾高尔夫球会练习场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内容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比杆赛，与保时捷的伙伴们一起为荣誉挥杆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选手要求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具备业余球手资质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比赛规则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同时开球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Stableford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计分规则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新新贝利亚差点计算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奖项设置：</a:t>
            </a:r>
            <a:r>
              <a:rPr lang="en-US" altLang="zh-CN" sz="12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亚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季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总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保时捷俱乐部最佳表现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距洞最近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女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*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女混评</a:t>
            </a:r>
            <a:endParaRPr lang="en-US" altLang="zh-CN" sz="1200" b="1" u="sng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96838" indent="-96838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 请通过活动热线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312 2577 911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预约报名，截止时间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。如您已预约参赛，请于开赛前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分钟到达集合地点。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234557"/>
            <a:ext cx="3020523" cy="48209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DBF091B-A6F2-FE49-9883-D9C64CC43A82}"/>
              </a:ext>
            </a:extLst>
          </p:cNvPr>
          <p:cNvSpPr/>
          <p:nvPr/>
        </p:nvSpPr>
        <p:spPr>
          <a:xfrm>
            <a:off x="8265368" y="5855786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0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803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10282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98549"/>
            <a:ext cx="5040560" cy="577081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</a:t>
            </a:r>
            <a:r>
              <a:rPr lang="en-US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自由行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班车接送，详见班车信息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景点介绍：分界洲岛所处地理位置特殊、气候变化明显、岛屿地形独特，以及地域文化特色鲜明等，故分界洲岛自古就有“分界岛”、“美人岛”、“马鞍岭”、“睡佛岛”等美誉。置身其中，令人心旷神怡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保时捷中国将为活动伙伴支付入岛门票</a:t>
            </a:r>
            <a:r>
              <a:rPr lang="ja-JP" altLang="en-US" sz="140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及午餐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/>
            <a:endParaRPr lang="en-US" altLang="zh-CN" sz="140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27476"/>
            <a:ext cx="2808312" cy="452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692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16783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38681"/>
            <a:ext cx="2808312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543685" y="39159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2335773" y="398800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8">
            <a:extLst>
              <a:ext uri="{FF2B5EF4-FFF2-40B4-BE49-F238E27FC236}">
                <a16:creationId xmlns:a16="http://schemas.microsoft.com/office/drawing/2014/main" id="{8C5D99EF-191F-D44D-8542-C7AFA6D0C486}"/>
              </a:ext>
            </a:extLst>
          </p:cNvPr>
          <p:cNvSpPr/>
          <p:nvPr/>
        </p:nvSpPr>
        <p:spPr>
          <a:xfrm>
            <a:off x="7591565" y="5805264"/>
            <a:ext cx="2304256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84141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430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嘉宾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</a:t>
                      </a:r>
                      <a:endParaRPr lang="en-US" altLang="zh-CN" sz="1800" b="1" u="none" strike="noStrike" baseline="0" dirty="0"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27122"/>
            <a:ext cx="5040560" cy="566308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试驾体验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- 13:00, 13:0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由专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教练带您驾驶保时捷，体验乐趣非凡的海南滨海高速路，享受沿途美景及保时捷所带来的极致驾驶体验。试驾去程，班车回程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保时捷中国将为活动伙伴支付入岛门票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03935"/>
            <a:ext cx="2764647" cy="4478728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矩形 8">
            <a:extLst>
              <a:ext uri="{FF2B5EF4-FFF2-40B4-BE49-F238E27FC236}">
                <a16:creationId xmlns:a16="http://schemas.microsoft.com/office/drawing/2014/main" id="{FE5F6D11-9E71-4240-B3CF-2BEEB9C60AF7}"/>
              </a:ext>
            </a:extLst>
          </p:cNvPr>
          <p:cNvSpPr/>
          <p:nvPr/>
        </p:nvSpPr>
        <p:spPr>
          <a:xfrm>
            <a:off x="8481391" y="5805264"/>
            <a:ext cx="1414429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9931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56821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46" y="1138681"/>
            <a:ext cx="2803060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496616" y="422108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 flipV="1">
            <a:off x="2288704" y="4060014"/>
            <a:ext cx="1988533" cy="2330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88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31647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信息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0259"/>
            <a:ext cx="2998176" cy="479411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8CACF9-A4E6-5C4E-8094-6ABFB4E868D6}"/>
              </a:ext>
            </a:extLst>
          </p:cNvPr>
          <p:cNvSpPr txBox="1"/>
          <p:nvPr/>
        </p:nvSpPr>
        <p:spPr>
          <a:xfrm>
            <a:off x="3651203" y="276898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EB1097-4E22-B742-9DAB-2940F611B6D1}"/>
              </a:ext>
            </a:extLst>
          </p:cNvPr>
          <p:cNvSpPr/>
          <p:nvPr/>
        </p:nvSpPr>
        <p:spPr>
          <a:xfrm>
            <a:off x="910393" y="3095382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BA0492-B132-1C4E-8373-B5BF36070A87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1702481" y="2895943"/>
            <a:ext cx="1948722" cy="2714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C26F3E5-20A5-D84C-A13B-48EF8AA7C53A}"/>
              </a:ext>
            </a:extLst>
          </p:cNvPr>
          <p:cNvSpPr txBox="1"/>
          <p:nvPr/>
        </p:nvSpPr>
        <p:spPr>
          <a:xfrm>
            <a:off x="3655010" y="41490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FA76F5-3EBE-4845-93AF-99BD6F6F7343}"/>
              </a:ext>
            </a:extLst>
          </p:cNvPr>
          <p:cNvSpPr txBox="1"/>
          <p:nvPr/>
        </p:nvSpPr>
        <p:spPr>
          <a:xfrm>
            <a:off x="3644851" y="3802762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794B0-4E76-4742-AE85-410EB0CD1730}"/>
              </a:ext>
            </a:extLst>
          </p:cNvPr>
          <p:cNvSpPr/>
          <p:nvPr/>
        </p:nvSpPr>
        <p:spPr>
          <a:xfrm>
            <a:off x="910393" y="3863144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A0D2-DDBA-1148-8D4C-910FAA75F862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 flipV="1">
            <a:off x="1702481" y="3933567"/>
            <a:ext cx="1942370" cy="15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8046EEE-B706-9445-93E3-A06925EE8EFD}"/>
              </a:ext>
            </a:extLst>
          </p:cNvPr>
          <p:cNvSpPr/>
          <p:nvPr/>
        </p:nvSpPr>
        <p:spPr>
          <a:xfrm>
            <a:off x="910393" y="415259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0311E4-A0C1-DF42-825A-CF408A7CFFAB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>
            <a:off x="1702481" y="4224605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810B18C-F781-6D44-B89C-ADE6758E68B8}"/>
              </a:ext>
            </a:extLst>
          </p:cNvPr>
          <p:cNvSpPr/>
          <p:nvPr/>
        </p:nvSpPr>
        <p:spPr>
          <a:xfrm>
            <a:off x="905968" y="33492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6B8D4C-7954-6545-AF96-EABC276541E2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1698056" y="3362509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01A7C43-D6F9-494B-99C3-BFDD69FCBC18}"/>
              </a:ext>
            </a:extLst>
          </p:cNvPr>
          <p:cNvSpPr txBox="1"/>
          <p:nvPr/>
        </p:nvSpPr>
        <p:spPr>
          <a:xfrm>
            <a:off x="3640426" y="3256067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</p:spTree>
    <p:extLst>
      <p:ext uri="{BB962C8B-B14F-4D97-AF65-F5344CB8AC3E}">
        <p14:creationId xmlns:p14="http://schemas.microsoft.com/office/powerpoint/2010/main" val="1172212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5040560" cy="34778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页面像素为：</a:t>
            </a:r>
            <a:r>
              <a:rPr lang="is-I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208*1242</a:t>
            </a:r>
          </a:p>
          <a:p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设计元素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更新为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今年的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赞助商</a:t>
            </a:r>
            <a:r>
              <a:rPr lang="en-US" altLang="ja-JP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只有两个的版本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修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保时捷高尔夫巡回赛中国总决赛</a:t>
            </a:r>
            <a:endParaRPr lang="en-US" altLang="zh-CN" sz="2000" b="1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Golf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up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hina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Final 2019</a:t>
            </a:r>
          </a:p>
          <a:p>
            <a:pPr algn="ctr"/>
            <a:endParaRPr lang="en-US" altLang="zh-CN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PorscheGolfFinal_miniprogram_2019_main page</a:t>
            </a: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68587" y="410223"/>
            <a:ext cx="8915400" cy="631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imhei_porsche" charset="-122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Main</a:t>
            </a:r>
            <a:r>
              <a:rPr lang="zh-CN" altLang="en-US" dirty="0">
                <a:latin typeface="Porsche Next TT" charset="0"/>
                <a:ea typeface="Porsche Next TT" charset="0"/>
                <a:cs typeface="Porsche Next TT" charset="0"/>
              </a:rPr>
              <a:t> </a:t>
            </a:r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Page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587" y="1249284"/>
            <a:ext cx="2889731" cy="501368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61312" y="5877272"/>
            <a:ext cx="2144688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:</a:t>
            </a:r>
            <a:r>
              <a:rPr kumimoji="1" lang="zh-CN" altLang="en-US" dirty="0"/>
              <a:t> </a:t>
            </a:r>
            <a:r>
              <a:rPr kumimoji="1" lang="en-US" altLang="zh-CN" dirty="0"/>
              <a:t>Main</a:t>
            </a:r>
            <a:r>
              <a:rPr kumimoji="1" lang="zh-CN" altLang="en-US" dirty="0"/>
              <a:t> </a:t>
            </a:r>
            <a:r>
              <a:rPr kumimoji="1" lang="en-US" altLang="zh-CN" dirty="0"/>
              <a:t>Page</a:t>
            </a:r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72480" y="1052736"/>
            <a:ext cx="2880320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D74392-E430-6540-A84C-A10A003A4F8D}"/>
              </a:ext>
            </a:extLst>
          </p:cNvPr>
          <p:cNvSpPr/>
          <p:nvPr/>
        </p:nvSpPr>
        <p:spPr>
          <a:xfrm>
            <a:off x="848544" y="1916832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78925C-04CF-CE4F-B6E4-B5D3F0D91944}"/>
              </a:ext>
            </a:extLst>
          </p:cNvPr>
          <p:cNvSpPr/>
          <p:nvPr/>
        </p:nvSpPr>
        <p:spPr>
          <a:xfrm>
            <a:off x="2216696" y="2052675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8295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64550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60912" y="3212976"/>
            <a:ext cx="3240360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812" y="1052736"/>
            <a:ext cx="3087760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5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39226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0161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8869" y="1052736"/>
            <a:ext cx="3063645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3864538" y="151985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200241" y="1783454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631594" y="1646813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722089" y="4083233"/>
            <a:ext cx="1519070" cy="3413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3241159" y="4230600"/>
            <a:ext cx="720082" cy="2333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722088" y="3479815"/>
            <a:ext cx="1519071" cy="291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584115"/>
            <a:ext cx="720081" cy="416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F591FB-A0E2-2B48-8D30-CCC82276EEE6}"/>
              </a:ext>
            </a:extLst>
          </p:cNvPr>
          <p:cNvGrpSpPr/>
          <p:nvPr/>
        </p:nvGrpSpPr>
        <p:grpSpPr>
          <a:xfrm>
            <a:off x="3961241" y="4022851"/>
            <a:ext cx="2232248" cy="415498"/>
            <a:chOff x="3872881" y="5234582"/>
            <a:chExt cx="2232248" cy="41549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CF99110-B102-2D4A-803A-E26BE27C35A2}"/>
                </a:ext>
              </a:extLst>
            </p:cNvPr>
            <p:cNvSpPr txBox="1"/>
            <p:nvPr/>
          </p:nvSpPr>
          <p:spPr>
            <a:xfrm>
              <a:off x="3872881" y="5234582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9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ja-JP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2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7690657-AEEE-004A-A0C6-F865A71747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529496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9EE053C-5466-AC47-9D0C-84D1534655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6870" y="5470907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0E39E84-C989-454E-9431-48EA5D9ED5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5290966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41ECD73-6467-074F-93B0-93121AB46702}"/>
              </a:ext>
            </a:extLst>
          </p:cNvPr>
          <p:cNvGrpSpPr/>
          <p:nvPr/>
        </p:nvGrpSpPr>
        <p:grpSpPr>
          <a:xfrm>
            <a:off x="3961240" y="3376366"/>
            <a:ext cx="2232248" cy="415498"/>
            <a:chOff x="3872880" y="4555625"/>
            <a:chExt cx="2232248" cy="415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D914CF2-7147-D847-9884-C221CA2B669B}"/>
                </a:ext>
              </a:extLst>
            </p:cNvPr>
            <p:cNvSpPr txBox="1"/>
            <p:nvPr/>
          </p:nvSpPr>
          <p:spPr>
            <a:xfrm>
              <a:off x="3872880" y="4555625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Boxster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man</a:t>
              </a: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Macan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 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enne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oup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055F61D-3095-5947-89E6-B28CAF63FB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4621310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15C4979-273E-EA44-990E-0D5FFBCCD4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4811" y="478417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B072A31-235C-8042-8709-0BD089289F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620465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B50663F-F6FD-E14D-9D20-8482996EB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784758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36795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2676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成功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8879" y="1052736"/>
            <a:ext cx="2983624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4033171" y="1645317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368874" y="1908916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800227" y="1772275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584549" y="3711818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>
            <a:off x="3241158" y="3783826"/>
            <a:ext cx="565712" cy="4797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128978" y="2882320"/>
            <a:ext cx="2112181" cy="76270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095704"/>
            <a:ext cx="595717" cy="16796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CF99110-B102-2D4A-803A-E26BE27C35A2}"/>
              </a:ext>
            </a:extLst>
          </p:cNvPr>
          <p:cNvSpPr txBox="1"/>
          <p:nvPr/>
        </p:nvSpPr>
        <p:spPr>
          <a:xfrm>
            <a:off x="3806870" y="3704847"/>
            <a:ext cx="2627389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请在预约时间前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0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分钟到达集合地点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914CF2-7147-D847-9884-C221CA2B669B}"/>
              </a:ext>
            </a:extLst>
          </p:cNvPr>
          <p:cNvSpPr txBox="1"/>
          <p:nvPr/>
        </p:nvSpPr>
        <p:spPr>
          <a:xfrm>
            <a:off x="3836876" y="2968746"/>
            <a:ext cx="2232248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删除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58B45F8-BD79-AE42-AD4E-B50518179A76}"/>
              </a:ext>
            </a:extLst>
          </p:cNvPr>
          <p:cNvSpPr/>
          <p:nvPr/>
        </p:nvSpPr>
        <p:spPr>
          <a:xfrm>
            <a:off x="1584549" y="4104135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51FFF68-3F85-4F4E-8D82-79C6215F122A}"/>
              </a:ext>
            </a:extLst>
          </p:cNvPr>
          <p:cNvCxnSpPr>
            <a:cxnSpLocks/>
            <a:stCxn id="38" idx="3"/>
            <a:endCxn id="40" idx="1"/>
          </p:cNvCxnSpPr>
          <p:nvPr/>
        </p:nvCxnSpPr>
        <p:spPr>
          <a:xfrm>
            <a:off x="3241158" y="4176143"/>
            <a:ext cx="565712" cy="128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BF3EA4D-81E6-FF44-B8F5-AA8040131DEA}"/>
              </a:ext>
            </a:extLst>
          </p:cNvPr>
          <p:cNvSpPr txBox="1"/>
          <p:nvPr/>
        </p:nvSpPr>
        <p:spPr>
          <a:xfrm>
            <a:off x="3806870" y="4097164"/>
            <a:ext cx="2627389" cy="4154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m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Boxster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Mac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enne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oupe</a:t>
            </a:r>
          </a:p>
        </p:txBody>
      </p:sp>
    </p:spTree>
    <p:extLst>
      <p:ext uri="{BB962C8B-B14F-4D97-AF65-F5344CB8AC3E}">
        <p14:creationId xmlns:p14="http://schemas.microsoft.com/office/powerpoint/2010/main" val="1947817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69331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32514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赛事详情 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Main</a:t>
                      </a: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Page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944888" y="1052736"/>
            <a:ext cx="5040560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共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处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改为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组 7"/>
          <p:cNvGrpSpPr/>
          <p:nvPr/>
        </p:nvGrpSpPr>
        <p:grpSpPr>
          <a:xfrm>
            <a:off x="344488" y="1052736"/>
            <a:ext cx="2952328" cy="5274516"/>
            <a:chOff x="344488" y="908720"/>
            <a:chExt cx="2952328" cy="527451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145204"/>
              <a:ext cx="2936453" cy="5038032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344488" y="908720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6CB03DF-FF47-374B-BB15-3E0FD0F8A436}"/>
              </a:ext>
            </a:extLst>
          </p:cNvPr>
          <p:cNvSpPr/>
          <p:nvPr/>
        </p:nvSpPr>
        <p:spPr>
          <a:xfrm>
            <a:off x="740532" y="1772816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CE92F8-3C00-3A4F-B91E-61930D3AD126}"/>
              </a:ext>
            </a:extLst>
          </p:cNvPr>
          <p:cNvSpPr/>
          <p:nvPr/>
        </p:nvSpPr>
        <p:spPr>
          <a:xfrm>
            <a:off x="2432720" y="1989670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4CDA64-A411-CB43-8A39-F2DFD87B6944}"/>
              </a:ext>
            </a:extLst>
          </p:cNvPr>
          <p:cNvSpPr/>
          <p:nvPr/>
        </p:nvSpPr>
        <p:spPr>
          <a:xfrm>
            <a:off x="1100572" y="5733256"/>
            <a:ext cx="252028" cy="14401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977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4032448" cy="120032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内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换成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的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29910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grpSp>
        <p:nvGrpSpPr>
          <p:cNvPr id="5" name="组 4"/>
          <p:cNvGrpSpPr/>
          <p:nvPr/>
        </p:nvGrpSpPr>
        <p:grpSpPr>
          <a:xfrm>
            <a:off x="344488" y="1052736"/>
            <a:ext cx="2952328" cy="5304867"/>
            <a:chOff x="344488" y="1052736"/>
            <a:chExt cx="2952328" cy="530486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321521"/>
              <a:ext cx="2914867" cy="5036082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159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23066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比赛形式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9" name="组 8"/>
          <p:cNvGrpSpPr/>
          <p:nvPr/>
        </p:nvGrpSpPr>
        <p:grpSpPr>
          <a:xfrm>
            <a:off x="344488" y="1052736"/>
            <a:ext cx="2880320" cy="5280176"/>
            <a:chOff x="344488" y="1052736"/>
            <a:chExt cx="2880320" cy="528017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4488" y="1314006"/>
              <a:ext cx="2876164" cy="5018906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880320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2EA4E39-32E2-8D4E-9EB6-4B6F4C359D39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比赛形式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B3FC3D-7C40-9B48-9779-63198B213E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7795352"/>
              </p:ext>
            </p:extLst>
          </p:nvPr>
        </p:nvGraphicFramePr>
        <p:xfrm>
          <a:off x="3816737" y="1622390"/>
          <a:ext cx="2868613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" name="Document" r:id="rId4" imgW="5727700" imgH="8788400" progId="Word.Document.12">
                  <p:embed/>
                </p:oleObj>
              </mc:Choice>
              <mc:Fallback>
                <p:oleObj name="Document" r:id="rId4" imgW="5727700" imgH="8788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16737" y="1622390"/>
                        <a:ext cx="2868613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5511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1919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规则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0841"/>
            <a:ext cx="2736304" cy="4410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64CABC72-CE69-734F-9EC8-D9C30E2062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4466707"/>
              </p:ext>
            </p:extLst>
          </p:nvPr>
        </p:nvGraphicFramePr>
        <p:xfrm>
          <a:off x="3872880" y="1507140"/>
          <a:ext cx="3073400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Document" r:id="rId4" imgW="5727700" imgH="8204200" progId="Word.Document.12">
                  <p:embed/>
                </p:oleObj>
              </mc:Choice>
              <mc:Fallback>
                <p:oleObj name="Document" r:id="rId4" imgW="5727700" imgH="82042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72880" y="1507140"/>
                        <a:ext cx="3073400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A0F9F43-76D4-DE4D-8ED1-CE9529BBB3AD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赛事规则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24386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72880" y="1052736"/>
            <a:ext cx="324036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无更新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304089"/>
            <a:ext cx="2752930" cy="4393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5484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n8jQT5_kWG24cAFvZ3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WZHxeONkaTPLK4VQb9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NgS6QPc0eLAcOE1MWP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tENPeOZ0CQP.RBOGsX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D.P2JFbUqtOAgI8UQGQ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6</TotalTime>
  <Words>1516</Words>
  <Application>Microsoft Office PowerPoint</Application>
  <PresentationFormat>A4 纸张(210x297 毫米)</PresentationFormat>
  <Paragraphs>281</Paragraphs>
  <Slides>33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33</vt:i4>
      </vt:variant>
    </vt:vector>
  </HeadingPairs>
  <TitlesOfParts>
    <vt:vector size="45" baseType="lpstr">
      <vt:lpstr>Porsche Next</vt:lpstr>
      <vt:lpstr>porsche next TT</vt:lpstr>
      <vt:lpstr>porsche next TT</vt:lpstr>
      <vt:lpstr>simhei_porsche</vt:lpstr>
      <vt:lpstr>黑体</vt:lpstr>
      <vt:lpstr>黑体</vt:lpstr>
      <vt:lpstr>Arial</vt:lpstr>
      <vt:lpstr>Calibri</vt:lpstr>
      <vt:lpstr>Office 主题</vt:lpstr>
      <vt:lpstr>Dokument</vt:lpstr>
      <vt:lpstr>Document</vt:lpstr>
      <vt:lpstr>Acrobat Document</vt:lpstr>
      <vt:lpstr>PowerPoint 演示文稿</vt:lpstr>
      <vt:lpstr>Conten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, Torre (SHN-JMW)</dc:creator>
  <cp:lastModifiedBy>YanMing Zhang</cp:lastModifiedBy>
  <cp:revision>257</cp:revision>
  <dcterms:created xsi:type="dcterms:W3CDTF">2017-10-17T07:41:05Z</dcterms:created>
  <dcterms:modified xsi:type="dcterms:W3CDTF">2019-11-19T01:20:22Z</dcterms:modified>
</cp:coreProperties>
</file>